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sldIdLst>
    <p:sldId id="271" r:id="rId3"/>
    <p:sldId id="257" r:id="rId4"/>
    <p:sldId id="25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78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88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23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773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3133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21/12/2020 16:12:5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999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12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4239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12/2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7564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12/2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078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12/2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36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12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7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12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926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9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tiff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10" Type="http://schemas.openxmlformats.org/officeDocument/2006/relationships/image" Target="../media/image16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3991" y="3839991"/>
            <a:ext cx="8253800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4.0 T Intersections Light Vehicle Perspective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Version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449" y="1651518"/>
            <a:ext cx="9619861" cy="45532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689CAA-0899-2F48-BFDD-1D9B1868DC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5174" y="724985"/>
            <a:ext cx="4833730" cy="599648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Local Object (LO) Light Vehicle (LV) approaches intersection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When the body of the LO (LV) enters the geo-fenced intersection (30m from intersection) the CAS will scan for other CAS units in that intersection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f intersection becomes occupied by any other vehicle whilst the LO (LV) is in the intersection the following will occur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Screen will brighten in LO and ROs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Verbal prompt “Intersection Occupied” will only trigger in LV designated vehicles not in HV’s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f the LO (HV or LV) becomes the only vehicle inside the geo-fenced intersection or departs the geo-fenced intersection the screen will then dim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udible should trigger once only per entry into geofence</a:t>
            </a:r>
          </a:p>
          <a:p>
            <a:pPr marL="0" lvl="0" indent="0">
              <a:lnSpc>
                <a:spcPct val="100000"/>
              </a:lnSpc>
              <a:buNone/>
            </a:pPr>
            <a:r>
              <a:rPr lang="en-US" sz="1200" dirty="0">
                <a:solidFill>
                  <a:prstClr val="black"/>
                </a:solidFill>
              </a:rPr>
              <a:t>Not applicable for dozers, drills or tracked loading units</a:t>
            </a:r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AD83D8-ED77-DF4A-8055-DA8CEAE10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364" y="43308"/>
            <a:ext cx="10515600" cy="738118"/>
          </a:xfrm>
        </p:spPr>
        <p:txBody>
          <a:bodyPr/>
          <a:lstStyle/>
          <a:p>
            <a:r>
              <a:rPr lang="en-US" dirty="0"/>
              <a:t>T-Intersections – LV Perspective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BBEDD9DB-1296-7948-885B-98E4AE9AF856}"/>
              </a:ext>
            </a:extLst>
          </p:cNvPr>
          <p:cNvSpPr/>
          <p:nvPr/>
        </p:nvSpPr>
        <p:spPr>
          <a:xfrm>
            <a:off x="178903" y="1033117"/>
            <a:ext cx="6708913" cy="4154557"/>
          </a:xfrm>
          <a:custGeom>
            <a:avLst/>
            <a:gdLst>
              <a:gd name="connsiteX0" fmla="*/ 19878 w 6679096"/>
              <a:gd name="connsiteY0" fmla="*/ 0 h 4591878"/>
              <a:gd name="connsiteX1" fmla="*/ 0 w 6679096"/>
              <a:gd name="connsiteY1" fmla="*/ 2087218 h 4591878"/>
              <a:gd name="connsiteX2" fmla="*/ 2246244 w 6679096"/>
              <a:gd name="connsiteY2" fmla="*/ 2077278 h 4591878"/>
              <a:gd name="connsiteX3" fmla="*/ 2276061 w 6679096"/>
              <a:gd name="connsiteY3" fmla="*/ 4591878 h 4591878"/>
              <a:gd name="connsiteX4" fmla="*/ 4671392 w 6679096"/>
              <a:gd name="connsiteY4" fmla="*/ 4591878 h 4591878"/>
              <a:gd name="connsiteX5" fmla="*/ 4641574 w 6679096"/>
              <a:gd name="connsiteY5" fmla="*/ 2057400 h 4591878"/>
              <a:gd name="connsiteX6" fmla="*/ 6679096 w 6679096"/>
              <a:gd name="connsiteY6" fmla="*/ 2057400 h 4591878"/>
              <a:gd name="connsiteX7" fmla="*/ 6669157 w 6679096"/>
              <a:gd name="connsiteY7" fmla="*/ 109331 h 4591878"/>
              <a:gd name="connsiteX8" fmla="*/ 19878 w 6679096"/>
              <a:gd name="connsiteY8" fmla="*/ 0 h 4591878"/>
              <a:gd name="connsiteX0" fmla="*/ 19878 w 6679096"/>
              <a:gd name="connsiteY0" fmla="*/ 0 h 4591878"/>
              <a:gd name="connsiteX1" fmla="*/ 0 w 6679096"/>
              <a:gd name="connsiteY1" fmla="*/ 2087218 h 4591878"/>
              <a:gd name="connsiteX2" fmla="*/ 2246244 w 6679096"/>
              <a:gd name="connsiteY2" fmla="*/ 2077278 h 4591878"/>
              <a:gd name="connsiteX3" fmla="*/ 2276061 w 6679096"/>
              <a:gd name="connsiteY3" fmla="*/ 4591878 h 4591878"/>
              <a:gd name="connsiteX4" fmla="*/ 4671392 w 6679096"/>
              <a:gd name="connsiteY4" fmla="*/ 4591878 h 4591878"/>
              <a:gd name="connsiteX5" fmla="*/ 4641574 w 6679096"/>
              <a:gd name="connsiteY5" fmla="*/ 2057400 h 4591878"/>
              <a:gd name="connsiteX6" fmla="*/ 6679096 w 6679096"/>
              <a:gd name="connsiteY6" fmla="*/ 2057400 h 4591878"/>
              <a:gd name="connsiteX7" fmla="*/ 6659263 w 6679096"/>
              <a:gd name="connsiteY7" fmla="*/ 10464 h 4591878"/>
              <a:gd name="connsiteX8" fmla="*/ 19878 w 6679096"/>
              <a:gd name="connsiteY8" fmla="*/ 0 h 4591878"/>
              <a:gd name="connsiteX0" fmla="*/ 19878 w 6679096"/>
              <a:gd name="connsiteY0" fmla="*/ 0 h 4591878"/>
              <a:gd name="connsiteX1" fmla="*/ 0 w 6679096"/>
              <a:gd name="connsiteY1" fmla="*/ 2087218 h 4591878"/>
              <a:gd name="connsiteX2" fmla="*/ 2295719 w 6679096"/>
              <a:gd name="connsiteY2" fmla="*/ 2099248 h 4591878"/>
              <a:gd name="connsiteX3" fmla="*/ 2276061 w 6679096"/>
              <a:gd name="connsiteY3" fmla="*/ 4591878 h 4591878"/>
              <a:gd name="connsiteX4" fmla="*/ 4671392 w 6679096"/>
              <a:gd name="connsiteY4" fmla="*/ 4591878 h 4591878"/>
              <a:gd name="connsiteX5" fmla="*/ 4641574 w 6679096"/>
              <a:gd name="connsiteY5" fmla="*/ 2057400 h 4591878"/>
              <a:gd name="connsiteX6" fmla="*/ 6679096 w 6679096"/>
              <a:gd name="connsiteY6" fmla="*/ 2057400 h 4591878"/>
              <a:gd name="connsiteX7" fmla="*/ 6659263 w 6679096"/>
              <a:gd name="connsiteY7" fmla="*/ 10464 h 4591878"/>
              <a:gd name="connsiteX8" fmla="*/ 19878 w 6679096"/>
              <a:gd name="connsiteY8" fmla="*/ 0 h 4591878"/>
              <a:gd name="connsiteX0" fmla="*/ 19878 w 6679096"/>
              <a:gd name="connsiteY0" fmla="*/ 0 h 4591878"/>
              <a:gd name="connsiteX1" fmla="*/ 0 w 6679096"/>
              <a:gd name="connsiteY1" fmla="*/ 2087218 h 4591878"/>
              <a:gd name="connsiteX2" fmla="*/ 2275929 w 6679096"/>
              <a:gd name="connsiteY2" fmla="*/ 2110233 h 4591878"/>
              <a:gd name="connsiteX3" fmla="*/ 2276061 w 6679096"/>
              <a:gd name="connsiteY3" fmla="*/ 4591878 h 4591878"/>
              <a:gd name="connsiteX4" fmla="*/ 4671392 w 6679096"/>
              <a:gd name="connsiteY4" fmla="*/ 4591878 h 4591878"/>
              <a:gd name="connsiteX5" fmla="*/ 4641574 w 6679096"/>
              <a:gd name="connsiteY5" fmla="*/ 2057400 h 4591878"/>
              <a:gd name="connsiteX6" fmla="*/ 6679096 w 6679096"/>
              <a:gd name="connsiteY6" fmla="*/ 2057400 h 4591878"/>
              <a:gd name="connsiteX7" fmla="*/ 6659263 w 6679096"/>
              <a:gd name="connsiteY7" fmla="*/ 10464 h 4591878"/>
              <a:gd name="connsiteX8" fmla="*/ 19878 w 6679096"/>
              <a:gd name="connsiteY8" fmla="*/ 0 h 4591878"/>
              <a:gd name="connsiteX0" fmla="*/ 19878 w 6679096"/>
              <a:gd name="connsiteY0" fmla="*/ 0 h 4591878"/>
              <a:gd name="connsiteX1" fmla="*/ 0 w 6679096"/>
              <a:gd name="connsiteY1" fmla="*/ 2087218 h 4591878"/>
              <a:gd name="connsiteX2" fmla="*/ 2275929 w 6679096"/>
              <a:gd name="connsiteY2" fmla="*/ 2110233 h 4591878"/>
              <a:gd name="connsiteX3" fmla="*/ 2276061 w 6679096"/>
              <a:gd name="connsiteY3" fmla="*/ 4591878 h 4591878"/>
              <a:gd name="connsiteX4" fmla="*/ 4671392 w 6679096"/>
              <a:gd name="connsiteY4" fmla="*/ 4591878 h 4591878"/>
              <a:gd name="connsiteX5" fmla="*/ 4661364 w 6679096"/>
              <a:gd name="connsiteY5" fmla="*/ 2068386 h 4591878"/>
              <a:gd name="connsiteX6" fmla="*/ 6679096 w 6679096"/>
              <a:gd name="connsiteY6" fmla="*/ 2057400 h 4591878"/>
              <a:gd name="connsiteX7" fmla="*/ 6659263 w 6679096"/>
              <a:gd name="connsiteY7" fmla="*/ 10464 h 4591878"/>
              <a:gd name="connsiteX8" fmla="*/ 19878 w 6679096"/>
              <a:gd name="connsiteY8" fmla="*/ 0 h 4591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79096" h="4591878">
                <a:moveTo>
                  <a:pt x="19878" y="0"/>
                </a:moveTo>
                <a:lnTo>
                  <a:pt x="0" y="2087218"/>
                </a:lnTo>
                <a:lnTo>
                  <a:pt x="2275929" y="2110233"/>
                </a:lnTo>
                <a:lnTo>
                  <a:pt x="2276061" y="4591878"/>
                </a:lnTo>
                <a:lnTo>
                  <a:pt x="4671392" y="4591878"/>
                </a:lnTo>
                <a:cubicBezTo>
                  <a:pt x="4668049" y="3750714"/>
                  <a:pt x="4664707" y="2909550"/>
                  <a:pt x="4661364" y="2068386"/>
                </a:cubicBezTo>
                <a:lnTo>
                  <a:pt x="6679096" y="2057400"/>
                </a:lnTo>
                <a:lnTo>
                  <a:pt x="6659263" y="10464"/>
                </a:lnTo>
                <a:lnTo>
                  <a:pt x="19878" y="0"/>
                </a:lnTo>
                <a:close/>
              </a:path>
            </a:pathLst>
          </a:custGeom>
          <a:blipFill>
            <a:blip r:embed="rId2"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7FE1DF1-7704-C44F-BC7F-22F2583D044E}"/>
              </a:ext>
            </a:extLst>
          </p:cNvPr>
          <p:cNvGrpSpPr/>
          <p:nvPr/>
        </p:nvGrpSpPr>
        <p:grpSpPr>
          <a:xfrm>
            <a:off x="2610150" y="3616534"/>
            <a:ext cx="432003" cy="2881004"/>
            <a:chOff x="2610150" y="3616534"/>
            <a:chExt cx="432003" cy="288100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3E7AC39-3F85-414B-8EB5-465863888B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24053" b="22337"/>
            <a:stretch/>
          </p:blipFill>
          <p:spPr>
            <a:xfrm rot="16200000">
              <a:off x="2311756" y="5767140"/>
              <a:ext cx="1028792" cy="432003"/>
            </a:xfrm>
            <a:prstGeom prst="rect">
              <a:avLst/>
            </a:prstGeom>
          </p:spPr>
        </p:pic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F671C71-1E28-F343-8B0C-02D884B4175C}"/>
                </a:ext>
              </a:extLst>
            </p:cNvPr>
            <p:cNvGrpSpPr/>
            <p:nvPr/>
          </p:nvGrpSpPr>
          <p:grpSpPr>
            <a:xfrm rot="5400000">
              <a:off x="1852434" y="4374251"/>
              <a:ext cx="1947433" cy="432000"/>
              <a:chOff x="3285138" y="5402337"/>
              <a:chExt cx="2160000" cy="432000"/>
            </a:xfrm>
          </p:grpSpPr>
          <p:sp>
            <p:nvSpPr>
              <p:cNvPr id="20" name="Isosceles Triangle 90">
                <a:extLst>
                  <a:ext uri="{FF2B5EF4-FFF2-40B4-BE49-F238E27FC236}">
                    <a16:creationId xmlns:a16="http://schemas.microsoft.com/office/drawing/2014/main" id="{C4BA5533-7012-664E-920D-682E0F661D11}"/>
                  </a:ext>
                </a:extLst>
              </p:cNvPr>
              <p:cNvSpPr/>
              <p:nvPr/>
            </p:nvSpPr>
            <p:spPr>
              <a:xfrm rot="16200000" flipV="1">
                <a:off x="4149138" y="4538337"/>
                <a:ext cx="432000" cy="2160000"/>
              </a:xfrm>
              <a:prstGeom prst="triangle">
                <a:avLst/>
              </a:prstGeom>
              <a:solidFill>
                <a:srgbClr val="FFFF00">
                  <a:alpha val="30000"/>
                </a:srgbClr>
              </a:solidFill>
              <a:ln w="3175">
                <a:solidFill>
                  <a:schemeClr val="tx1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Isosceles Triangle 109">
                <a:extLst>
                  <a:ext uri="{FF2B5EF4-FFF2-40B4-BE49-F238E27FC236}">
                    <a16:creationId xmlns:a16="http://schemas.microsoft.com/office/drawing/2014/main" id="{7A4093DE-0F07-D748-9315-8D962313BB0B}"/>
                  </a:ext>
                </a:extLst>
              </p:cNvPr>
              <p:cNvSpPr/>
              <p:nvPr/>
            </p:nvSpPr>
            <p:spPr>
              <a:xfrm rot="16200000" flipV="1">
                <a:off x="4548437" y="4898337"/>
                <a:ext cx="324000" cy="1440000"/>
              </a:xfrm>
              <a:prstGeom prst="triangle">
                <a:avLst/>
              </a:prstGeom>
              <a:solidFill>
                <a:srgbClr val="FF0000">
                  <a:alpha val="40000"/>
                </a:srgbClr>
              </a:solidFill>
              <a:ln w="3175">
                <a:solidFill>
                  <a:schemeClr val="tx1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C6203DD-DB2B-8840-8A87-424ACC8D8C95}"/>
              </a:ext>
            </a:extLst>
          </p:cNvPr>
          <p:cNvCxnSpPr>
            <a:cxnSpLocks/>
          </p:cNvCxnSpPr>
          <p:nvPr/>
        </p:nvCxnSpPr>
        <p:spPr>
          <a:xfrm>
            <a:off x="2130256" y="3051920"/>
            <a:ext cx="0" cy="2135754"/>
          </a:xfrm>
          <a:prstGeom prst="straightConnector1">
            <a:avLst/>
          </a:prstGeom>
          <a:ln w="3492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821A6D0-F2AD-294D-949E-9BC8F8B51084}"/>
              </a:ext>
            </a:extLst>
          </p:cNvPr>
          <p:cNvSpPr txBox="1"/>
          <p:nvPr/>
        </p:nvSpPr>
        <p:spPr>
          <a:xfrm>
            <a:off x="1474278" y="3935131"/>
            <a:ext cx="655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m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9DE6475-454B-7E43-9805-D2C044313BCB}"/>
              </a:ext>
            </a:extLst>
          </p:cNvPr>
          <p:cNvCxnSpPr>
            <a:cxnSpLocks/>
          </p:cNvCxnSpPr>
          <p:nvPr/>
        </p:nvCxnSpPr>
        <p:spPr>
          <a:xfrm rot="16200000">
            <a:off x="5956830" y="1984043"/>
            <a:ext cx="0" cy="2135754"/>
          </a:xfrm>
          <a:prstGeom prst="straightConnector1">
            <a:avLst/>
          </a:prstGeom>
          <a:ln w="3492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D6F3CE5E-C286-8F49-B8F2-BC9114112C99}"/>
              </a:ext>
            </a:extLst>
          </p:cNvPr>
          <p:cNvSpPr txBox="1"/>
          <p:nvPr/>
        </p:nvSpPr>
        <p:spPr>
          <a:xfrm>
            <a:off x="5586815" y="3107838"/>
            <a:ext cx="655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m</a:t>
            </a:r>
          </a:p>
        </p:txBody>
      </p:sp>
      <p:pic>
        <p:nvPicPr>
          <p:cNvPr id="8" name="Graphic 7" descr="Wireless router">
            <a:extLst>
              <a:ext uri="{FF2B5EF4-FFF2-40B4-BE49-F238E27FC236}">
                <a16:creationId xmlns:a16="http://schemas.microsoft.com/office/drawing/2014/main" id="{34054C61-AD58-4F42-81F2-9BFB77274B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29207" y="4559129"/>
            <a:ext cx="472223" cy="472223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67981F0F-8E6D-BC42-8C47-A69940083387}"/>
              </a:ext>
            </a:extLst>
          </p:cNvPr>
          <p:cNvGrpSpPr/>
          <p:nvPr/>
        </p:nvGrpSpPr>
        <p:grpSpPr>
          <a:xfrm rot="16200000">
            <a:off x="13456479" y="821949"/>
            <a:ext cx="806346" cy="3084147"/>
            <a:chOff x="7747266" y="2861333"/>
            <a:chExt cx="608235" cy="3084147"/>
          </a:xfrm>
        </p:grpSpPr>
        <p:sp>
          <p:nvSpPr>
            <p:cNvPr id="16" name="Isosceles Triangle 90">
              <a:extLst>
                <a:ext uri="{FF2B5EF4-FFF2-40B4-BE49-F238E27FC236}">
                  <a16:creationId xmlns:a16="http://schemas.microsoft.com/office/drawing/2014/main" id="{BFFB5089-6426-5844-9A91-78D7D2F76FFE}"/>
                </a:ext>
              </a:extLst>
            </p:cNvPr>
            <p:cNvSpPr/>
            <p:nvPr/>
          </p:nvSpPr>
          <p:spPr>
            <a:xfrm flipV="1">
              <a:off x="7835382" y="2861333"/>
              <a:ext cx="432000" cy="2160000"/>
            </a:xfrm>
            <a:prstGeom prst="triangle">
              <a:avLst/>
            </a:prstGeom>
            <a:solidFill>
              <a:srgbClr val="FFFF00">
                <a:alpha val="3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Isosceles Triangle 109">
              <a:extLst>
                <a:ext uri="{FF2B5EF4-FFF2-40B4-BE49-F238E27FC236}">
                  <a16:creationId xmlns:a16="http://schemas.microsoft.com/office/drawing/2014/main" id="{8047CEF3-5AAD-FF4A-BD8F-160D3114CF3E}"/>
                </a:ext>
              </a:extLst>
            </p:cNvPr>
            <p:cNvSpPr/>
            <p:nvPr/>
          </p:nvSpPr>
          <p:spPr>
            <a:xfrm flipV="1">
              <a:off x="7889382" y="3566632"/>
              <a:ext cx="324000" cy="1440000"/>
            </a:xfrm>
            <a:prstGeom prst="triangle">
              <a:avLst/>
            </a:prstGeom>
            <a:solidFill>
              <a:srgbClr val="FF0000">
                <a:alpha val="4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8" name="Picture 43">
              <a:extLst>
                <a:ext uri="{FF2B5EF4-FFF2-40B4-BE49-F238E27FC236}">
                  <a16:creationId xmlns:a16="http://schemas.microsoft.com/office/drawing/2014/main" id="{4AAECD7F-00C5-9C49-8572-8A630ED606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7266" y="5006631"/>
              <a:ext cx="608235" cy="938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342217A-88B3-254A-9A95-4D348DAB214E}"/>
              </a:ext>
            </a:extLst>
          </p:cNvPr>
          <p:cNvGrpSpPr/>
          <p:nvPr/>
        </p:nvGrpSpPr>
        <p:grpSpPr>
          <a:xfrm rot="20360084" flipH="1">
            <a:off x="2999414" y="5018115"/>
            <a:ext cx="805832" cy="797176"/>
            <a:chOff x="4551062" y="4164748"/>
            <a:chExt cx="1506867" cy="1083105"/>
          </a:xfrm>
        </p:grpSpPr>
        <p:pic>
          <p:nvPicPr>
            <p:cNvPr id="24" name="Graphic 23" descr="Marketing">
              <a:extLst>
                <a:ext uri="{FF2B5EF4-FFF2-40B4-BE49-F238E27FC236}">
                  <a16:creationId xmlns:a16="http://schemas.microsoft.com/office/drawing/2014/main" id="{9F9B0432-9A68-7C4D-BC17-1A54D107D00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51062" y="4333453"/>
              <a:ext cx="914400" cy="914400"/>
            </a:xfrm>
            <a:prstGeom prst="rect">
              <a:avLst/>
            </a:prstGeom>
          </p:spPr>
        </p:pic>
        <p:pic>
          <p:nvPicPr>
            <p:cNvPr id="26" name="Graphic 25" descr="Wi-Fi">
              <a:extLst>
                <a:ext uri="{FF2B5EF4-FFF2-40B4-BE49-F238E27FC236}">
                  <a16:creationId xmlns:a16="http://schemas.microsoft.com/office/drawing/2014/main" id="{1D6E14EA-8441-9346-922C-C50CCDD756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5400000">
              <a:off x="5143529" y="4164748"/>
              <a:ext cx="914400" cy="914400"/>
            </a:xfrm>
            <a:prstGeom prst="rect">
              <a:avLst/>
            </a:prstGeom>
          </p:spPr>
        </p:pic>
      </p:grpSp>
      <p:sp>
        <p:nvSpPr>
          <p:cNvPr id="10" name="Freeform 9">
            <a:extLst>
              <a:ext uri="{FF2B5EF4-FFF2-40B4-BE49-F238E27FC236}">
                <a16:creationId xmlns:a16="http://schemas.microsoft.com/office/drawing/2014/main" id="{B470B0BB-FEC2-E245-A592-2E344250D626}"/>
              </a:ext>
            </a:extLst>
          </p:cNvPr>
          <p:cNvSpPr/>
          <p:nvPr/>
        </p:nvSpPr>
        <p:spPr>
          <a:xfrm>
            <a:off x="139148" y="864704"/>
            <a:ext cx="6971836" cy="4482548"/>
          </a:xfrm>
          <a:custGeom>
            <a:avLst/>
            <a:gdLst>
              <a:gd name="connsiteX0" fmla="*/ 9939 w 6858000"/>
              <a:gd name="connsiteY0" fmla="*/ 0 h 4522304"/>
              <a:gd name="connsiteX1" fmla="*/ 0 w 6858000"/>
              <a:gd name="connsiteY1" fmla="*/ 4522304 h 4522304"/>
              <a:gd name="connsiteX2" fmla="*/ 6858000 w 6858000"/>
              <a:gd name="connsiteY2" fmla="*/ 4502426 h 4522304"/>
              <a:gd name="connsiteX3" fmla="*/ 6838122 w 6858000"/>
              <a:gd name="connsiteY3" fmla="*/ 79513 h 4522304"/>
              <a:gd name="connsiteX4" fmla="*/ 9939 w 6858000"/>
              <a:gd name="connsiteY4" fmla="*/ 0 h 4522304"/>
              <a:gd name="connsiteX0" fmla="*/ 9939 w 6858000"/>
              <a:gd name="connsiteY0" fmla="*/ 0 h 4522304"/>
              <a:gd name="connsiteX1" fmla="*/ 0 w 6858000"/>
              <a:gd name="connsiteY1" fmla="*/ 4522304 h 4522304"/>
              <a:gd name="connsiteX2" fmla="*/ 6858000 w 6858000"/>
              <a:gd name="connsiteY2" fmla="*/ 4502426 h 4522304"/>
              <a:gd name="connsiteX3" fmla="*/ 6838122 w 6858000"/>
              <a:gd name="connsiteY3" fmla="*/ 9322 h 4522304"/>
              <a:gd name="connsiteX4" fmla="*/ 9939 w 6858000"/>
              <a:gd name="connsiteY4" fmla="*/ 0 h 4522304"/>
              <a:gd name="connsiteX0" fmla="*/ 9939 w 6858000"/>
              <a:gd name="connsiteY0" fmla="*/ 40814 h 4563118"/>
              <a:gd name="connsiteX1" fmla="*/ 0 w 6858000"/>
              <a:gd name="connsiteY1" fmla="*/ 4563118 h 4563118"/>
              <a:gd name="connsiteX2" fmla="*/ 6858000 w 6858000"/>
              <a:gd name="connsiteY2" fmla="*/ 4543240 h 4563118"/>
              <a:gd name="connsiteX3" fmla="*/ 6838122 w 6858000"/>
              <a:gd name="connsiteY3" fmla="*/ 0 h 4563118"/>
              <a:gd name="connsiteX4" fmla="*/ 9939 w 6858000"/>
              <a:gd name="connsiteY4" fmla="*/ 40814 h 4563118"/>
              <a:gd name="connsiteX0" fmla="*/ 9939 w 6858000"/>
              <a:gd name="connsiteY0" fmla="*/ 0 h 4522304"/>
              <a:gd name="connsiteX1" fmla="*/ 0 w 6858000"/>
              <a:gd name="connsiteY1" fmla="*/ 4522304 h 4522304"/>
              <a:gd name="connsiteX2" fmla="*/ 6858000 w 6858000"/>
              <a:gd name="connsiteY2" fmla="*/ 4502426 h 4522304"/>
              <a:gd name="connsiteX3" fmla="*/ 6838122 w 6858000"/>
              <a:gd name="connsiteY3" fmla="*/ 29377 h 4522304"/>
              <a:gd name="connsiteX4" fmla="*/ 9939 w 6858000"/>
              <a:gd name="connsiteY4" fmla="*/ 0 h 4522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0" h="4522304">
                <a:moveTo>
                  <a:pt x="9939" y="0"/>
                </a:moveTo>
                <a:lnTo>
                  <a:pt x="0" y="4522304"/>
                </a:lnTo>
                <a:lnTo>
                  <a:pt x="6858000" y="4502426"/>
                </a:lnTo>
                <a:lnTo>
                  <a:pt x="6838122" y="29377"/>
                </a:lnTo>
                <a:lnTo>
                  <a:pt x="9939" y="0"/>
                </a:lnTo>
                <a:close/>
              </a:path>
            </a:pathLst>
          </a:custGeom>
          <a:noFill/>
          <a:ln w="34925">
            <a:prstDash val="lgDash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9886 w 6821558"/>
                      <a:gd name="connsiteY0" fmla="*/ 0 h 4482548"/>
                      <a:gd name="connsiteX1" fmla="*/ 0 w 6821558"/>
                      <a:gd name="connsiteY1" fmla="*/ 4482548 h 4482548"/>
                      <a:gd name="connsiteX2" fmla="*/ 704894 w 6821558"/>
                      <a:gd name="connsiteY2" fmla="*/ 4480512 h 4482548"/>
                      <a:gd name="connsiteX3" fmla="*/ 1205142 w 6821558"/>
                      <a:gd name="connsiteY3" fmla="*/ 4479067 h 4482548"/>
                      <a:gd name="connsiteX4" fmla="*/ 1637174 w 6821558"/>
                      <a:gd name="connsiteY4" fmla="*/ 4477819 h 4482548"/>
                      <a:gd name="connsiteX5" fmla="*/ 2273853 w 6821558"/>
                      <a:gd name="connsiteY5" fmla="*/ 4475980 h 4482548"/>
                      <a:gd name="connsiteX6" fmla="*/ 2774100 w 6821558"/>
                      <a:gd name="connsiteY6" fmla="*/ 4474535 h 4482548"/>
                      <a:gd name="connsiteX7" fmla="*/ 3478995 w 6821558"/>
                      <a:gd name="connsiteY7" fmla="*/ 4472499 h 4482548"/>
                      <a:gd name="connsiteX8" fmla="*/ 3911027 w 6821558"/>
                      <a:gd name="connsiteY8" fmla="*/ 4471251 h 4482548"/>
                      <a:gd name="connsiteX9" fmla="*/ 4615921 w 6821558"/>
                      <a:gd name="connsiteY9" fmla="*/ 4469215 h 4482548"/>
                      <a:gd name="connsiteX10" fmla="*/ 4979737 w 6821558"/>
                      <a:gd name="connsiteY10" fmla="*/ 4468164 h 4482548"/>
                      <a:gd name="connsiteX11" fmla="*/ 5548201 w 6821558"/>
                      <a:gd name="connsiteY11" fmla="*/ 4466522 h 4482548"/>
                      <a:gd name="connsiteX12" fmla="*/ 6116664 w 6821558"/>
                      <a:gd name="connsiteY12" fmla="*/ 4464880 h 4482548"/>
                      <a:gd name="connsiteX13" fmla="*/ 6821558 w 6821558"/>
                      <a:gd name="connsiteY13" fmla="*/ 4462844 h 4482548"/>
                      <a:gd name="connsiteX14" fmla="*/ 6818691 w 6821558"/>
                      <a:gd name="connsiteY14" fmla="*/ 3819954 h 4482548"/>
                      <a:gd name="connsiteX15" fmla="*/ 6815824 w 6821558"/>
                      <a:gd name="connsiteY15" fmla="*/ 3177063 h 4482548"/>
                      <a:gd name="connsiteX16" fmla="*/ 6812957 w 6821558"/>
                      <a:gd name="connsiteY16" fmla="*/ 2534173 h 4482548"/>
                      <a:gd name="connsiteX17" fmla="*/ 6810485 w 6821558"/>
                      <a:gd name="connsiteY17" fmla="*/ 1979957 h 4482548"/>
                      <a:gd name="connsiteX18" fmla="*/ 6808211 w 6821558"/>
                      <a:gd name="connsiteY18" fmla="*/ 1470079 h 4482548"/>
                      <a:gd name="connsiteX19" fmla="*/ 6806333 w 6821558"/>
                      <a:gd name="connsiteY19" fmla="*/ 1048875 h 4482548"/>
                      <a:gd name="connsiteX20" fmla="*/ 6804257 w 6821558"/>
                      <a:gd name="connsiteY20" fmla="*/ 583334 h 4482548"/>
                      <a:gd name="connsiteX21" fmla="*/ 6801785 w 6821558"/>
                      <a:gd name="connsiteY21" fmla="*/ 29118 h 4482548"/>
                      <a:gd name="connsiteX22" fmla="*/ 6303712 w 6821558"/>
                      <a:gd name="connsiteY22" fmla="*/ 26983 h 4482548"/>
                      <a:gd name="connsiteX23" fmla="*/ 5873559 w 6821558"/>
                      <a:gd name="connsiteY23" fmla="*/ 25139 h 4482548"/>
                      <a:gd name="connsiteX24" fmla="*/ 5239648 w 6821558"/>
                      <a:gd name="connsiteY24" fmla="*/ 22421 h 4482548"/>
                      <a:gd name="connsiteX25" fmla="*/ 4673657 w 6821558"/>
                      <a:gd name="connsiteY25" fmla="*/ 19994 h 4482548"/>
                      <a:gd name="connsiteX26" fmla="*/ 4107665 w 6821558"/>
                      <a:gd name="connsiteY26" fmla="*/ 17568 h 4482548"/>
                      <a:gd name="connsiteX27" fmla="*/ 3405836 w 6821558"/>
                      <a:gd name="connsiteY27" fmla="*/ 14559 h 4482548"/>
                      <a:gd name="connsiteX28" fmla="*/ 2771925 w 6821558"/>
                      <a:gd name="connsiteY28" fmla="*/ 11841 h 4482548"/>
                      <a:gd name="connsiteX29" fmla="*/ 2409690 w 6821558"/>
                      <a:gd name="connsiteY29" fmla="*/ 10288 h 4482548"/>
                      <a:gd name="connsiteX30" fmla="*/ 1911618 w 6821558"/>
                      <a:gd name="connsiteY30" fmla="*/ 8153 h 4482548"/>
                      <a:gd name="connsiteX31" fmla="*/ 1209788 w 6821558"/>
                      <a:gd name="connsiteY31" fmla="*/ 5144 h 4482548"/>
                      <a:gd name="connsiteX32" fmla="*/ 643797 w 6821558"/>
                      <a:gd name="connsiteY32" fmla="*/ 2718 h 4482548"/>
                      <a:gd name="connsiteX33" fmla="*/ 9886 w 6821558"/>
                      <a:gd name="connsiteY33" fmla="*/ 0 h 4482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</a:cxnLst>
                    <a:rect l="l" t="t" r="r" b="b"/>
                    <a:pathLst>
                      <a:path w="6821558" h="4482548" extrusionOk="0">
                        <a:moveTo>
                          <a:pt x="9886" y="0"/>
                        </a:moveTo>
                        <a:cubicBezTo>
                          <a:pt x="-176568" y="1381207"/>
                          <a:pt x="-213665" y="3069793"/>
                          <a:pt x="0" y="4482548"/>
                        </a:cubicBezTo>
                        <a:cubicBezTo>
                          <a:pt x="142639" y="4465065"/>
                          <a:pt x="395861" y="4562405"/>
                          <a:pt x="704894" y="4480512"/>
                        </a:cubicBezTo>
                        <a:cubicBezTo>
                          <a:pt x="1013927" y="4398619"/>
                          <a:pt x="1045802" y="4531281"/>
                          <a:pt x="1205142" y="4479067"/>
                        </a:cubicBezTo>
                        <a:cubicBezTo>
                          <a:pt x="1364482" y="4426853"/>
                          <a:pt x="1482910" y="4496695"/>
                          <a:pt x="1637174" y="4477819"/>
                        </a:cubicBezTo>
                        <a:cubicBezTo>
                          <a:pt x="1791438" y="4458943"/>
                          <a:pt x="1971312" y="4502304"/>
                          <a:pt x="2273853" y="4475980"/>
                        </a:cubicBezTo>
                        <a:cubicBezTo>
                          <a:pt x="2576394" y="4449656"/>
                          <a:pt x="2552054" y="4501194"/>
                          <a:pt x="2774100" y="4474535"/>
                        </a:cubicBezTo>
                        <a:cubicBezTo>
                          <a:pt x="2996146" y="4447876"/>
                          <a:pt x="3128528" y="4491861"/>
                          <a:pt x="3478995" y="4472499"/>
                        </a:cubicBezTo>
                        <a:cubicBezTo>
                          <a:pt x="3829462" y="4453137"/>
                          <a:pt x="3774861" y="4477445"/>
                          <a:pt x="3911027" y="4471251"/>
                        </a:cubicBezTo>
                        <a:cubicBezTo>
                          <a:pt x="4047193" y="4465057"/>
                          <a:pt x="4328843" y="4534503"/>
                          <a:pt x="4615921" y="4469215"/>
                        </a:cubicBezTo>
                        <a:cubicBezTo>
                          <a:pt x="4902999" y="4403927"/>
                          <a:pt x="4852946" y="4494494"/>
                          <a:pt x="4979737" y="4468164"/>
                        </a:cubicBezTo>
                        <a:cubicBezTo>
                          <a:pt x="5106528" y="4441834"/>
                          <a:pt x="5282883" y="4513015"/>
                          <a:pt x="5548201" y="4466522"/>
                        </a:cubicBezTo>
                        <a:cubicBezTo>
                          <a:pt x="5813519" y="4420029"/>
                          <a:pt x="5876763" y="4499316"/>
                          <a:pt x="6116664" y="4464880"/>
                        </a:cubicBezTo>
                        <a:cubicBezTo>
                          <a:pt x="6356565" y="4430444"/>
                          <a:pt x="6469583" y="4503008"/>
                          <a:pt x="6821558" y="4462844"/>
                        </a:cubicBezTo>
                        <a:cubicBezTo>
                          <a:pt x="6799772" y="4266803"/>
                          <a:pt x="6887459" y="4102242"/>
                          <a:pt x="6818691" y="3819954"/>
                        </a:cubicBezTo>
                        <a:cubicBezTo>
                          <a:pt x="6749923" y="3537666"/>
                          <a:pt x="6818353" y="3460017"/>
                          <a:pt x="6815824" y="3177063"/>
                        </a:cubicBezTo>
                        <a:cubicBezTo>
                          <a:pt x="6813295" y="2894109"/>
                          <a:pt x="6879090" y="2699220"/>
                          <a:pt x="6812957" y="2534173"/>
                        </a:cubicBezTo>
                        <a:cubicBezTo>
                          <a:pt x="6746824" y="2369126"/>
                          <a:pt x="6813404" y="2202308"/>
                          <a:pt x="6810485" y="1979957"/>
                        </a:cubicBezTo>
                        <a:cubicBezTo>
                          <a:pt x="6807566" y="1757606"/>
                          <a:pt x="6860663" y="1585303"/>
                          <a:pt x="6808211" y="1470079"/>
                        </a:cubicBezTo>
                        <a:cubicBezTo>
                          <a:pt x="6755760" y="1354855"/>
                          <a:pt x="6808027" y="1211390"/>
                          <a:pt x="6806333" y="1048875"/>
                        </a:cubicBezTo>
                        <a:cubicBezTo>
                          <a:pt x="6804639" y="886360"/>
                          <a:pt x="6817075" y="690357"/>
                          <a:pt x="6804257" y="583334"/>
                        </a:cubicBezTo>
                        <a:cubicBezTo>
                          <a:pt x="6791439" y="476311"/>
                          <a:pt x="6815648" y="227847"/>
                          <a:pt x="6801785" y="29118"/>
                        </a:cubicBezTo>
                        <a:cubicBezTo>
                          <a:pt x="6598961" y="59993"/>
                          <a:pt x="6477618" y="-19599"/>
                          <a:pt x="6303712" y="26983"/>
                        </a:cubicBezTo>
                        <a:cubicBezTo>
                          <a:pt x="6129806" y="73565"/>
                          <a:pt x="5974926" y="-16376"/>
                          <a:pt x="5873559" y="25139"/>
                        </a:cubicBezTo>
                        <a:cubicBezTo>
                          <a:pt x="5772192" y="66654"/>
                          <a:pt x="5524300" y="-42658"/>
                          <a:pt x="5239648" y="22421"/>
                        </a:cubicBezTo>
                        <a:cubicBezTo>
                          <a:pt x="4954996" y="87500"/>
                          <a:pt x="4859214" y="17357"/>
                          <a:pt x="4673657" y="19994"/>
                        </a:cubicBezTo>
                        <a:cubicBezTo>
                          <a:pt x="4488100" y="22632"/>
                          <a:pt x="4316304" y="-2356"/>
                          <a:pt x="4107665" y="17568"/>
                        </a:cubicBezTo>
                        <a:cubicBezTo>
                          <a:pt x="3899026" y="37491"/>
                          <a:pt x="3663147" y="-19960"/>
                          <a:pt x="3405836" y="14559"/>
                        </a:cubicBezTo>
                        <a:cubicBezTo>
                          <a:pt x="3148525" y="49078"/>
                          <a:pt x="2958775" y="-59120"/>
                          <a:pt x="2771925" y="11841"/>
                        </a:cubicBezTo>
                        <a:cubicBezTo>
                          <a:pt x="2585075" y="82802"/>
                          <a:pt x="2571093" y="6344"/>
                          <a:pt x="2409690" y="10288"/>
                        </a:cubicBezTo>
                        <a:cubicBezTo>
                          <a:pt x="2248287" y="14232"/>
                          <a:pt x="2057843" y="3987"/>
                          <a:pt x="1911618" y="8153"/>
                        </a:cubicBezTo>
                        <a:cubicBezTo>
                          <a:pt x="1765393" y="12319"/>
                          <a:pt x="1492732" y="-35600"/>
                          <a:pt x="1209788" y="5144"/>
                        </a:cubicBezTo>
                        <a:cubicBezTo>
                          <a:pt x="926844" y="45888"/>
                          <a:pt x="907646" y="-7973"/>
                          <a:pt x="643797" y="2718"/>
                        </a:cubicBezTo>
                        <a:cubicBezTo>
                          <a:pt x="379948" y="13409"/>
                          <a:pt x="246722" y="-34754"/>
                          <a:pt x="9886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3537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273 0.47708 L -0.00273 -0.03773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57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" presetID="26" presetClass="emph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10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50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10599 0.00648 L -0.68672 0.00648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6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6" presetClass="emph" presetSubtype="0" repeatCount="3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1000" tmFilter="0, 0; .2, .5; .8, .5; 1, 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500" autoRev="1" fill="hold"/>
                                        <p:tgtEl>
                                          <p:spTgt spid="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68672 0.00648 L -1.2586 0.00648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59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8</TotalTime>
  <Words>266</Words>
  <Application>Microsoft Office PowerPoint</Application>
  <PresentationFormat>Widescreen</PresentationFormat>
  <Paragraphs>23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1_Office Theme</vt:lpstr>
      <vt:lpstr>2_Office Theme</vt:lpstr>
      <vt:lpstr>PowerPoint Presentation</vt:lpstr>
      <vt:lpstr>Adapting and Using EMESRT Story Boards</vt:lpstr>
      <vt:lpstr>T-Intersections – LV Perspectiv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Mike Boyle</cp:lastModifiedBy>
  <cp:revision>13</cp:revision>
  <dcterms:created xsi:type="dcterms:W3CDTF">2020-10-07T22:58:51Z</dcterms:created>
  <dcterms:modified xsi:type="dcterms:W3CDTF">2020-12-21T06:12:53Z</dcterms:modified>
</cp:coreProperties>
</file>